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9" r:id="rId2"/>
    <p:sldMasterId id="2147483705" r:id="rId3"/>
    <p:sldMasterId id="2147483719" r:id="rId4"/>
    <p:sldMasterId id="2147483732" r:id="rId5"/>
    <p:sldMasterId id="2147483813" r:id="rId6"/>
  </p:sldMasterIdLst>
  <p:notesMasterIdLst>
    <p:notesMasterId r:id="rId19"/>
  </p:notesMasterIdLst>
  <p:sldIdLst>
    <p:sldId id="2147469457" r:id="rId7"/>
    <p:sldId id="4246" r:id="rId8"/>
    <p:sldId id="258" r:id="rId9"/>
    <p:sldId id="2147469454" r:id="rId10"/>
    <p:sldId id="2147469455" r:id="rId11"/>
    <p:sldId id="631" r:id="rId12"/>
    <p:sldId id="2147469458" r:id="rId13"/>
    <p:sldId id="2147469456" r:id="rId14"/>
    <p:sldId id="2147469459" r:id="rId15"/>
    <p:sldId id="4249" r:id="rId16"/>
    <p:sldId id="4305" r:id="rId17"/>
    <p:sldId id="421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699"/>
    <a:srgbClr val="F3F4F2"/>
    <a:srgbClr val="13254D"/>
    <a:srgbClr val="1E3366"/>
    <a:srgbClr val="3B3838"/>
    <a:srgbClr val="8FAADC"/>
    <a:srgbClr val="A6A6A6"/>
    <a:srgbClr val="164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82F7D0-B2BF-44EC-AC11-B1EA5EF8EFC6}" v="2" dt="2024-02-26T20:31:10.1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83550-7A50-41A2-826C-19CF77FDAF6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3216A0-E798-4F51-813D-3A96E5C1F9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287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y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engaged Revolution D, Inc. to identify areas of the state that are unserved, impacte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COVID-19, and that if broadband were available, would support distance learning, telehealth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/or teleworking. The ORS solicited applications for expanding broadband infrastructure in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th Carolina. The ORS is currently working with applicants to finalize funding agreements an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s are scheduled to be completed before December 18, 2020.</a:t>
            </a: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has created a program overview, various p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ases, an application, guidelines, funding agreement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reporting tools. Companies are required to submit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ncial Progress Reports and Construction Prog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s to the ORS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00790-80C6-AA4C-9B49-34A68777BD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2425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y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engaged Revolution D, Inc. to identify areas of the state that are unserved, impacte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COVID-19, and that if broadband were available, would support distance learning, telehealth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/or teleworking. The ORS solicited applications for expanding broadband infrastructure in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th Carolina. The ORS is currently working with applicants to finalize funding agreements an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s are scheduled to be completed before December 18, 2020.</a:t>
            </a: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has created a program overview, various p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ases, an application, guidelines, funding agreement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reporting tools. Companies are required to submit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ncial Progress Reports and Construction Prog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s to the ORS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00790-80C6-AA4C-9B49-34A68777BD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7889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y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engaged Revolution D, Inc. to identify areas of the state that are unserved, impacte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COVID-19, and that if broadband were available, would support distance learning, telehealth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/or teleworking. The ORS solicited applications for expanding broadband infrastructure in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uth Carolina. The ORS is currently working with applicants to finalize funding agreements and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s are scheduled to be completed before December 18, 2020.</a:t>
            </a:r>
          </a:p>
          <a:p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RS has created a program overview, various p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ases, an application, guidelines, funding agreement,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reporting tools. Companies are required to submit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nancial Progress Reports and Construction Progress</a:t>
            </a:r>
          </a:p>
          <a:p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orts to the ORS.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00790-80C6-AA4C-9B49-34A68777BD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4544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ndon to welcome and introduce webinar- logis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000790-80C6-AA4C-9B49-34A68777BD4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2413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C9B2B-4A5F-4787-825D-8943CEF73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1C1FEE-B47F-4A82-8919-F052568E45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0E7C91-A3EE-4BC8-8E98-5A96DC7DB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E416B7-0620-4982-A606-17276B7C36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61ECE-358C-4FE2-A86B-CC2F9E5E0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782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0DE9E-C6D4-4FE9-A48F-19DB438422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6A890C-7FBF-4C73-9B59-0E490FFE2A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A17599-7EE7-48BE-919C-49D17DB5E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414434-F31A-4D32-B6EB-2817C6AE54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443F39-0E75-4C7C-8517-EA5A6D76C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21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ADCB4F-A1B8-4664-9849-869FCC9F85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BA2CB3-D579-414B-B529-F575F553D3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CB6BB6-2333-4DC9-B771-1093CAEBBF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EFB60-926F-4181-AB1A-45718CC2EF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3603A0-4C35-4CE0-B5F5-0126A841D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375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5416" y="3161464"/>
            <a:ext cx="62913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35416" y="1554132"/>
            <a:ext cx="62913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326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1616" y="6395835"/>
            <a:ext cx="4417951" cy="365125"/>
          </a:xfrm>
          <a:prstGeom prst="rect">
            <a:avLst/>
          </a:prstGeom>
        </p:spPr>
        <p:txBody>
          <a:bodyPr/>
          <a:lstStyle/>
          <a:p>
            <a:fld id="{97351E65-1796-754F-81FA-FF2024D9864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0B7CAA-71BA-2842-A69B-EB5D62E79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06554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83C7E4D-4F96-DE40-BDEE-4EBD90AAF391}" type="datetimeFigureOut">
              <a:rPr lang="en-US">
                <a:solidFill>
                  <a:prstClr val="black"/>
                </a:solidFill>
              </a:rPr>
              <a:pPr/>
              <a:t>2/26/202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8660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BD71225-0811-9D4A-897E-4F8F0704EA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E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7761A7-AE23-5A4E-985C-B81D968343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53743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5DA0FB7-ACB6-BF47-A4B8-C2F844F4F09A}"/>
              </a:ext>
            </a:extLst>
          </p:cNvPr>
          <p:cNvSpPr/>
          <p:nvPr userDrawn="1"/>
        </p:nvSpPr>
        <p:spPr>
          <a:xfrm>
            <a:off x="0" y="6537434"/>
            <a:ext cx="12192000" cy="320566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D99160-5A74-4C47-83FD-F2B1AACC1421}"/>
              </a:ext>
            </a:extLst>
          </p:cNvPr>
          <p:cNvSpPr/>
          <p:nvPr userDrawn="1"/>
        </p:nvSpPr>
        <p:spPr>
          <a:xfrm>
            <a:off x="3100232" y="5178792"/>
            <a:ext cx="85347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th Carolina Office of Regulatory Staff  |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745D4778-842B-2343-A812-DE36F46730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E24C18-3E84-8B45-B33B-1BE334304E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00232" y="3846879"/>
            <a:ext cx="8534720" cy="643146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F6A88BA-22E7-914B-992D-6F2E54C9C5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00232" y="4490029"/>
            <a:ext cx="8534720" cy="688762"/>
          </a:xfrm>
        </p:spPr>
        <p:txBody>
          <a:bodyPr>
            <a:normAutofit/>
          </a:bodyPr>
          <a:lstStyle>
            <a:lvl1pPr marL="0" indent="0">
              <a:buNone/>
              <a:defRPr lang="en-US" sz="4000" kern="12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1A6270-88E7-334B-90CF-76129B21C6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52012" y="5208628"/>
            <a:ext cx="3482940" cy="40009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 XX, XXXX</a:t>
            </a:r>
          </a:p>
        </p:txBody>
      </p:sp>
    </p:spTree>
    <p:extLst>
      <p:ext uri="{BB962C8B-B14F-4D97-AF65-F5344CB8AC3E}">
        <p14:creationId xmlns:p14="http://schemas.microsoft.com/office/powerpoint/2010/main" val="440064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1177D-CACD-431D-A57F-E24CD6956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lang="en-US" sz="4400" b="1" kern="1200" dirty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0107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1AB210-46C5-4510-B3B4-EEB11423A4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796454-EA32-F14C-A9C8-80E8D439F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678622"/>
            <a:ext cx="8588375" cy="936694"/>
          </a:xfrm>
        </p:spPr>
        <p:txBody>
          <a:bodyPr/>
          <a:lstStyle>
            <a:lvl1pPr marL="0" indent="0">
              <a:buNone/>
              <a:defRPr lang="en-US" sz="4400" b="1" kern="1200" dirty="0" smtClean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4960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1AB210-46C5-4510-B3B4-EEB11423A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5024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796454-EA32-F14C-A9C8-80E8D439F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678622"/>
            <a:ext cx="8588375" cy="936694"/>
          </a:xfrm>
        </p:spPr>
        <p:txBody>
          <a:bodyPr/>
          <a:lstStyle>
            <a:lvl1pPr marL="0" indent="0">
              <a:buNone/>
              <a:defRPr lang="en-US" sz="4400" b="1" kern="1200" dirty="0" smtClean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79F30CF-35DF-954E-B934-FE9F9188DA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6200" y="1825625"/>
            <a:ext cx="3810000" cy="278606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4343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1AB210-46C5-4510-B3B4-EEB11423A4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935133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796454-EA32-F14C-A9C8-80E8D439F8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678622"/>
            <a:ext cx="6883400" cy="936694"/>
          </a:xfrm>
        </p:spPr>
        <p:txBody>
          <a:bodyPr>
            <a:noAutofit/>
          </a:bodyPr>
          <a:lstStyle>
            <a:lvl1pPr marL="0" indent="0">
              <a:buNone/>
              <a:defRPr lang="en-US" sz="4400" b="1" kern="1200" dirty="0" smtClean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288D8-24D7-E64F-8676-B6651D4457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74001" y="0"/>
            <a:ext cx="4318000" cy="62484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35885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44154-EFE6-420F-BCD3-F32150ED0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C3E094-B32A-42A6-B9EE-3207852BB8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B2EEFA-18FB-409F-AC80-B3B3A66F0D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CA162-A416-4665-8BE5-0FB0A7DA3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71445-E83B-4F26-86B4-5E025BD4B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4797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ape&#10;&#10;Description automatically generated">
            <a:extLst>
              <a:ext uri="{FF2B5EF4-FFF2-40B4-BE49-F238E27FC236}">
                <a16:creationId xmlns:a16="http://schemas.microsoft.com/office/drawing/2014/main" id="{B9339CE9-4954-8A45-9270-00E00AA6C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6" r="8900" b="11207"/>
          <a:stretch/>
        </p:blipFill>
        <p:spPr>
          <a:xfrm>
            <a:off x="6089650" y="0"/>
            <a:ext cx="6102350" cy="62314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B16F0F-8DBC-4D4A-BBE5-16D19CD8D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>
                <a:solidFill>
                  <a:srgbClr val="1E33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5609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A5AB7994-0ADD-7547-9DD2-0744F73FBD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6" r="8900" b="11207"/>
          <a:stretch/>
        </p:blipFill>
        <p:spPr>
          <a:xfrm>
            <a:off x="6089650" y="0"/>
            <a:ext cx="6102350" cy="62314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B16F0F-8DBC-4D4A-BBE5-16D19CD8D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>
                <a:solidFill>
                  <a:srgbClr val="1E33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A058A-46F2-4CA2-9EEF-67C971B34E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25443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82F5C-3CA3-4B6B-8120-B99749211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lang="en-US" sz="4400" b="1" kern="1200" dirty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113A3-0DAD-4C4E-A1D3-B2224E08C4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ECCF67-0CB2-40D9-B6A8-7B37AE1C19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60151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3982A-882B-4A9C-BEFD-B2048098C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lang="en-US" sz="4400" b="1" kern="1200" dirty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EDC64F-9E41-4DF1-A1E6-B842332B2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DC2A91-65FB-4215-A4C2-20579B96F4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793FC0-F93F-4E84-94E7-562F506AF2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DE70E3D-236B-4BE3-927F-7346CE146C3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29064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C842F3-2B27-464B-888F-603132BF2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lang="en-US" sz="3200" b="1" kern="1200" dirty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BD5E70-1C4E-4F19-8F6D-FF07A462C2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B163FA-902F-4F61-A476-B9ED014BA4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67814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4E313-BE50-4465-80AD-9EA985F2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lang="en-US" sz="3200" b="1" kern="1200" dirty="0">
                <a:solidFill>
                  <a:srgbClr val="1E336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3FF096-1F33-44E5-BC87-F08DF4C600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4A47AC-052B-4760-A346-3DF96C55B5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728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7560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06E3E1-14EF-7A42-9938-C7B4357BCC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E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568D6B-4DB5-9341-B761-023933E2BF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5175" y="3422991"/>
            <a:ext cx="5665788" cy="485775"/>
          </a:xfrm>
        </p:spPr>
        <p:txBody>
          <a:bodyPr>
            <a:normAutofit/>
          </a:bodyPr>
          <a:lstStyle>
            <a:lvl1pPr marL="0" indent="0">
              <a:buNone/>
              <a:defRPr lang="en-US" sz="20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0350B5C-7E41-BD40-8C68-75E3E32278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3934167"/>
            <a:ext cx="5665788" cy="485775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, Department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3CAB5DC-6826-8847-A503-CB6406F7F0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5175" y="4445343"/>
            <a:ext cx="5665788" cy="485775"/>
          </a:xfrm>
        </p:spPr>
        <p:txBody>
          <a:bodyPr>
            <a:normAutofit/>
          </a:bodyPr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outh Carolina Office of Regulatory Staff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C1E0E19-506C-5E48-B273-685A10EE26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5175" y="4956519"/>
            <a:ext cx="5665788" cy="485775"/>
          </a:xfrm>
        </p:spPr>
        <p:txBody>
          <a:bodyPr>
            <a:normAutofit/>
          </a:bodyPr>
          <a:lstStyle>
            <a:lvl1pPr marL="0" indent="0">
              <a:buNone/>
              <a:defRPr lang="en-US" sz="2000" i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err="1"/>
              <a:t>FLastname@ORS.SC.GOV</a:t>
            </a:r>
            <a:endParaRPr lang="en-US"/>
          </a:p>
        </p:txBody>
      </p:sp>
      <p:pic>
        <p:nvPicPr>
          <p:cNvPr id="10" name="Picture 9" descr="Shape&#10;&#10;Description automatically generated">
            <a:extLst>
              <a:ext uri="{FF2B5EF4-FFF2-40B4-BE49-F238E27FC236}">
                <a16:creationId xmlns:a16="http://schemas.microsoft.com/office/drawing/2014/main" id="{7E97BEF6-54F7-C742-A913-81189B7A83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06" r="8900" b="11207"/>
          <a:stretch/>
        </p:blipFill>
        <p:spPr>
          <a:xfrm>
            <a:off x="5452533" y="0"/>
            <a:ext cx="6739467" cy="688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4916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EF116B8-EFE8-4593-A354-D25AFB713AC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-368169"/>
            <a:ext cx="12191999" cy="7177847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2644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5" progId="TCLayout.ActiveDocument.1">
                  <p:embed/>
                </p:oleObj>
              </mc:Choice>
              <mc:Fallback>
                <p:oleObj name="think-cell Slide" r:id="rId5" imgW="384" imgH="38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A9D9743-F1A3-4F29-9EE6-88646FC9FF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1"/>
          <p:cNvSpPr>
            <a:spLocks noChangeAspect="1"/>
          </p:cNvSpPr>
          <p:nvPr userDrawn="1"/>
        </p:nvSpPr>
        <p:spPr>
          <a:xfrm>
            <a:off x="2065215" y="735680"/>
            <a:ext cx="10126784" cy="3400425"/>
          </a:xfrm>
          <a:prstGeom prst="rect">
            <a:avLst/>
          </a:prstGeom>
          <a:solidFill>
            <a:srgbClr val="243C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2" rIns="91382" bIns="45692" rtlCol="0" anchor="t" anchorCtr="0"/>
          <a:lstStyle/>
          <a:p>
            <a:pPr algn="ctr" defTabSz="913823"/>
            <a:endParaRPr lang="en-US" sz="1200">
              <a:solidFill>
                <a:srgbClr val="000000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950463" y="2240282"/>
            <a:ext cx="8290560" cy="860400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950464" y="3220755"/>
            <a:ext cx="82905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3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0729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nel Cover Pag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>
            <a:spLocks/>
          </p:cNvSpPr>
          <p:nvPr userDrawn="1"/>
        </p:nvSpPr>
        <p:spPr bwMode="auto">
          <a:xfrm>
            <a:off x="494125" y="534039"/>
            <a:ext cx="6156769" cy="3452337"/>
          </a:xfrm>
          <a:custGeom>
            <a:avLst/>
            <a:gdLst>
              <a:gd name="T0" fmla="*/ 3175 w 3175"/>
              <a:gd name="T1" fmla="*/ 2238 h 2238"/>
              <a:gd name="T2" fmla="*/ 3175 w 3175"/>
              <a:gd name="T3" fmla="*/ 0 h 2238"/>
              <a:gd name="T4" fmla="*/ 0 w 3175"/>
              <a:gd name="T5" fmla="*/ 559 h 2238"/>
              <a:gd name="T6" fmla="*/ 0 w 3175"/>
              <a:gd name="T7" fmla="*/ 2238 h 2238"/>
              <a:gd name="T8" fmla="*/ 3175 w 3175"/>
              <a:gd name="T9" fmla="*/ 2238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75" h="2238">
                <a:moveTo>
                  <a:pt x="3175" y="2238"/>
                </a:moveTo>
                <a:lnTo>
                  <a:pt x="3175" y="0"/>
                </a:lnTo>
                <a:lnTo>
                  <a:pt x="0" y="559"/>
                </a:lnTo>
                <a:lnTo>
                  <a:pt x="0" y="2238"/>
                </a:lnTo>
                <a:lnTo>
                  <a:pt x="3175" y="2238"/>
                </a:lnTo>
                <a:close/>
              </a:path>
            </a:pathLst>
          </a:custGeom>
          <a:solidFill>
            <a:srgbClr val="243C75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latin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40081" y="1538446"/>
            <a:ext cx="5664857" cy="398153"/>
          </a:xfrm>
          <a:ln algn="ctr"/>
        </p:spPr>
        <p:txBody>
          <a:bodyPr vert="horz" lIns="0" tIns="0" rIns="0" bIns="0" rtlCol="0" anchor="t" anchorCtr="0">
            <a:noAutofit/>
          </a:bodyPr>
          <a:lstStyle>
            <a:lvl1pPr>
              <a:defRPr kumimoji="0" lang="en-GB" sz="2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23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6" name="Text Placeholder 9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40081" y="2841205"/>
            <a:ext cx="5664857" cy="184301"/>
          </a:xfrm>
        </p:spPr>
        <p:txBody>
          <a:bodyPr wrap="none" lIns="0" rIns="0" anchor="ctr" anchorCtr="0"/>
          <a:lstStyle>
            <a:lvl1pPr marL="0" indent="0">
              <a:buNone/>
              <a:defRPr>
                <a:solidFill>
                  <a:schemeClr val="tx2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7" name="Subtitle 2"/>
          <p:cNvSpPr>
            <a:spLocks noGrp="1"/>
          </p:cNvSpPr>
          <p:nvPr>
            <p:ph type="subTitle" idx="1"/>
          </p:nvPr>
        </p:nvSpPr>
        <p:spPr bwMode="gray">
          <a:xfrm>
            <a:off x="740081" y="2228914"/>
            <a:ext cx="5664857" cy="489549"/>
          </a:xfr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buNone/>
              <a:def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23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2988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AA060-6BA3-4083-8695-1F0E44C32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A98ECF-9213-461D-89DA-EAEE6E5299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25A5AA-2349-4645-B0CE-A48258867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8DE22-CDF1-4322-9B92-54E60B2E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4DF6A7-5FFE-4EBA-8D2F-3498D8C1A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557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3456D6-6E74-4CF6-B334-1963D44476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6643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3456D6-6E74-4CF6-B334-1963D4447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74090" y="710450"/>
            <a:ext cx="5290993" cy="3855911"/>
          </a:xfrm>
          <a:prstGeom prst="rect">
            <a:avLst/>
          </a:prstGeom>
          <a:solidFill>
            <a:srgbClr val="243C75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05839" y="1159137"/>
            <a:ext cx="4473919" cy="254067"/>
          </a:xfrm>
        </p:spPr>
        <p:txBody>
          <a:bodyPr wrap="none" anchor="ctr" anchorCtr="0"/>
          <a:lstStyle>
            <a:lvl1pPr marL="0" indent="0">
              <a:buNone/>
              <a:defRPr lang="en-US" sz="1200" b="1" kern="1200" dirty="0" smtClean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05839" y="1434089"/>
            <a:ext cx="4473919" cy="70840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lang="en-GB" sz="2600" b="1" kern="1200" dirty="0" smtClean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GB"/>
              <a:t>Section</a:t>
            </a:r>
          </a:p>
        </p:txBody>
      </p:sp>
      <p:sp>
        <p:nvSpPr>
          <p:cNvPr id="3639" name="Rectangle 3638">
            <a:extLst>
              <a:ext uri="{FF2B5EF4-FFF2-40B4-BE49-F238E27FC236}">
                <a16:creationId xmlns:a16="http://schemas.microsoft.com/office/drawing/2014/main" id="{8B60EF7F-57F5-4245-97A8-4A1578F5D74F}"/>
              </a:ext>
            </a:extLst>
          </p:cNvPr>
          <p:cNvSpPr/>
          <p:nvPr userDrawn="1"/>
        </p:nvSpPr>
        <p:spPr>
          <a:xfrm>
            <a:off x="-699541" y="6909947"/>
            <a:ext cx="13710693" cy="1410583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640" name="TextBox 3639">
            <a:extLst>
              <a:ext uri="{FF2B5EF4-FFF2-40B4-BE49-F238E27FC236}">
                <a16:creationId xmlns:a16="http://schemas.microsoft.com/office/drawing/2014/main" id="{D3273F45-BCA1-4D4A-A07D-A630C3BB692D}"/>
              </a:ext>
            </a:extLst>
          </p:cNvPr>
          <p:cNvSpPr txBox="1"/>
          <p:nvPr userDrawn="1"/>
        </p:nvSpPr>
        <p:spPr>
          <a:xfrm>
            <a:off x="732855" y="6415200"/>
            <a:ext cx="211667" cy="16498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fld id="{9AE4D82F-B047-469B-AC52-A46321747EAF}" type="slidenum">
              <a:rPr lang="en-GB" sz="800" smtClean="0">
                <a:solidFill>
                  <a:schemeClr val="bg1"/>
                </a:solidFill>
              </a:rPr>
              <a:pPr algn="ctr"/>
              <a:t>‹#›</a:t>
            </a:fld>
            <a:endParaRPr lang="en-GB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6800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4118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05839" y="1159137"/>
            <a:ext cx="4473919" cy="254067"/>
          </a:xfrm>
        </p:spPr>
        <p:txBody>
          <a:bodyPr wrap="none" anchor="ctr" anchorCtr="0"/>
          <a:lstStyle>
            <a:lvl1pPr marL="0" indent="0">
              <a:buNone/>
              <a:defRPr lang="en-US" sz="1200" b="1" kern="1200" dirty="0" smtClean="0">
                <a:solidFill>
                  <a:schemeClr val="accent1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05839" y="1434089"/>
            <a:ext cx="4473919" cy="70840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lang="en-GB" sz="2600" b="1" kern="1200" dirty="0" smtClean="0">
                <a:solidFill>
                  <a:schemeClr val="accent1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GB"/>
              <a:t>Sec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59153A-A542-4E87-943C-D0B918E234AB}"/>
              </a:ext>
            </a:extLst>
          </p:cNvPr>
          <p:cNvSpPr txBox="1"/>
          <p:nvPr userDrawn="1"/>
        </p:nvSpPr>
        <p:spPr>
          <a:xfrm>
            <a:off x="732855" y="6415200"/>
            <a:ext cx="211667" cy="16498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fld id="{9AE4D82F-B047-469B-AC52-A46321747EAF}" type="slidenum">
              <a:rPr lang="en-GB" sz="800" smtClean="0">
                <a:solidFill>
                  <a:schemeClr val="tx2"/>
                </a:solidFill>
              </a:rPr>
              <a:pPr algn="ctr"/>
              <a:t>‹#›</a:t>
            </a:fld>
            <a:endParaRPr lang="en-GB" sz="800">
              <a:solidFill>
                <a:schemeClr val="tx2"/>
              </a:solidFill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85C7F599-800C-4E8A-89FA-AE1B158EFE2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77290" y="862850"/>
            <a:ext cx="5290993" cy="3855911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8499574-0B0D-4000-90A5-85D18BC3CD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209039" y="1311537"/>
            <a:ext cx="4473919" cy="254067"/>
          </a:xfrm>
        </p:spPr>
        <p:txBody>
          <a:bodyPr wrap="none" anchor="ctr" anchorCtr="0"/>
          <a:lstStyle>
            <a:lvl1pPr marL="0" indent="0">
              <a:buNone/>
              <a:defRPr lang="en-US" sz="1200" b="1" kern="1200" dirty="0" smtClean="0">
                <a:solidFill>
                  <a:srgbClr val="243C75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DE0BA8F-61A2-41BA-B65A-2371D9C096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09039" y="1586489"/>
            <a:ext cx="4473919" cy="70840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lang="en-GB" sz="2600" b="1" kern="1200" dirty="0" smtClean="0">
                <a:solidFill>
                  <a:srgbClr val="243C75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GB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36139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2819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545FFC3-F909-409E-9470-3A7AC29277F2}"/>
              </a:ext>
            </a:extLst>
          </p:cNvPr>
          <p:cNvSpPr txBox="1"/>
          <p:nvPr userDrawn="1"/>
        </p:nvSpPr>
        <p:spPr>
          <a:xfrm>
            <a:off x="732855" y="6415200"/>
            <a:ext cx="211667" cy="16498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fld id="{9AE4D82F-B047-469B-AC52-A46321747EAF}" type="slidenum">
              <a:rPr lang="en-GB" sz="800" smtClean="0">
                <a:solidFill>
                  <a:schemeClr val="tx2"/>
                </a:solidFill>
              </a:rPr>
              <a:pPr algn="ctr"/>
              <a:t>‹#›</a:t>
            </a:fld>
            <a:endParaRPr lang="en-GB" sz="800">
              <a:solidFill>
                <a:schemeClr val="tx2"/>
              </a:solidFill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CBE6BB1D-7077-47FF-88A3-6A37AF137A4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74090" y="710450"/>
            <a:ext cx="5290993" cy="3855911"/>
          </a:xfrm>
          <a:prstGeom prst="rect">
            <a:avLst/>
          </a:prstGeom>
          <a:solidFill>
            <a:srgbClr val="243C75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96E6E23-731E-4663-A7A3-8444560E1C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05839" y="1159137"/>
            <a:ext cx="4473919" cy="254067"/>
          </a:xfrm>
        </p:spPr>
        <p:txBody>
          <a:bodyPr wrap="none" anchor="ctr" anchorCtr="0"/>
          <a:lstStyle>
            <a:lvl1pPr marL="0" indent="0">
              <a:buNone/>
              <a:defRPr lang="en-US" sz="1200" b="1" kern="1200" dirty="0" smtClean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Section #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1E5E678-9C02-42F2-9CD8-6AAB1059CB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005839" y="1434089"/>
            <a:ext cx="4473919" cy="708406"/>
          </a:xfrm>
        </p:spPr>
        <p:txBody>
          <a:bodyPr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lang="en-GB" sz="2600" b="1" kern="1200" dirty="0" smtClean="0">
                <a:solidFill>
                  <a:schemeClr val="tx2"/>
                </a:solidFill>
                <a:latin typeface="EYInterstate Light" panose="02000506000000020004" pitchFamily="2" charset="0"/>
                <a:ea typeface="+mn-ea"/>
                <a:cs typeface="Arial" charset="0"/>
              </a:defRPr>
            </a:lvl1pPr>
          </a:lstStyle>
          <a:p>
            <a:pPr lvl="0"/>
            <a:r>
              <a:rPr lang="en-GB"/>
              <a:t>Section</a:t>
            </a:r>
          </a:p>
        </p:txBody>
      </p:sp>
    </p:spTree>
    <p:extLst>
      <p:ext uri="{BB962C8B-B14F-4D97-AF65-F5344CB8AC3E}">
        <p14:creationId xmlns:p14="http://schemas.microsoft.com/office/powerpoint/2010/main" val="29004334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609600" y="369889"/>
            <a:ext cx="10972800" cy="45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019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9869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65139"/>
            <a:ext cx="10972800" cy="4572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243C75"/>
              </a:buClr>
              <a:defRPr/>
            </a:lvl1pPr>
            <a:lvl2pPr>
              <a:buClr>
                <a:srgbClr val="243C75"/>
              </a:buClr>
              <a:defRPr/>
            </a:lvl2pPr>
            <a:lvl3pPr>
              <a:buClr>
                <a:srgbClr val="243C75"/>
              </a:buClr>
              <a:defRPr/>
            </a:lvl3pPr>
            <a:lvl4pPr>
              <a:buClr>
                <a:srgbClr val="243C75"/>
              </a:buClr>
              <a:defRPr/>
            </a:lvl4pPr>
            <a:lvl5pPr>
              <a:buClr>
                <a:srgbClr val="243C7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4" tIns="45708" rIns="91414" bIns="45708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08543" y="1098260"/>
            <a:ext cx="10955660" cy="0"/>
          </a:xfrm>
          <a:prstGeom prst="line">
            <a:avLst/>
          </a:prstGeom>
          <a:ln w="28575">
            <a:solidFill>
              <a:srgbClr val="243C7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3126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18CCFD5-BF05-4488-A231-5D7A7070426A}"/>
              </a:ext>
            </a:extLst>
          </p:cNvPr>
          <p:cNvSpPr/>
          <p:nvPr userDrawn="1"/>
        </p:nvSpPr>
        <p:spPr>
          <a:xfrm>
            <a:off x="0" y="1"/>
            <a:ext cx="12192000" cy="790575"/>
          </a:xfrm>
          <a:prstGeom prst="rect">
            <a:avLst/>
          </a:prstGeom>
          <a:solidFill>
            <a:srgbClr val="243C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6276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AA34144-1D3D-4971-9B42-B24915C87F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350306"/>
            <a:ext cx="10972800" cy="4773294"/>
          </a:xfrm>
        </p:spPr>
        <p:txBody>
          <a:bodyPr/>
          <a:lstStyle>
            <a:lvl1pPr marL="228600" indent="-228600">
              <a:defRPr sz="1000">
                <a:latin typeface="EYInterstate Light" panose="02000506000000020004" pitchFamily="2" charset="0"/>
              </a:defRPr>
            </a:lvl1pPr>
            <a:lvl2pPr marL="520700" indent="-165100">
              <a:defRPr sz="1000">
                <a:latin typeface="EYInterstate Light" panose="02000506000000020004" pitchFamily="2" charset="0"/>
              </a:defRPr>
            </a:lvl2pPr>
            <a:lvl3pPr>
              <a:defRPr sz="1200">
                <a:latin typeface="EYInterstate Light" panose="02000506000000020004" pitchFamily="2" charset="0"/>
              </a:defRPr>
            </a:lvl3pPr>
            <a:lvl4pPr>
              <a:defRPr sz="1200">
                <a:latin typeface="EYInterstate Light" panose="02000506000000020004" pitchFamily="2" charset="0"/>
              </a:defRPr>
            </a:lvl4pPr>
            <a:lvl5pPr>
              <a:defRPr sz="1200">
                <a:latin typeface="EYInterstate Light" panose="02000506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4" tIns="45708" rIns="91414" bIns="45708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AB7AEB2-681C-4286-B80B-AD8F9CC4658C}"/>
              </a:ext>
            </a:extLst>
          </p:cNvPr>
          <p:cNvSpPr txBox="1">
            <a:spLocks/>
          </p:cNvSpPr>
          <p:nvPr userDrawn="1"/>
        </p:nvSpPr>
        <p:spPr>
          <a:xfrm>
            <a:off x="609600" y="382385"/>
            <a:ext cx="9398757" cy="3113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14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GB" sz="20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0FB1331-7169-4611-941C-C370AAD40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21844"/>
            <a:ext cx="10972800" cy="311581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6524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6662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5" progId="TCLayout.ActiveDocument.1">
                  <p:embed/>
                </p:oleObj>
              </mc:Choice>
              <mc:Fallback>
                <p:oleObj name="think-cell Slide" r:id="rId4" imgW="384" imgH="38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AA34144-1D3D-4971-9B42-B24915C87F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4" tIns="45708" rIns="91414" bIns="45708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5AEC515-33A9-4F29-9609-7CEDD044B6AB}"/>
              </a:ext>
            </a:extLst>
          </p:cNvPr>
          <p:cNvSpPr txBox="1">
            <a:spLocks/>
          </p:cNvSpPr>
          <p:nvPr userDrawn="1"/>
        </p:nvSpPr>
        <p:spPr>
          <a:xfrm>
            <a:off x="609600" y="256193"/>
            <a:ext cx="8161867" cy="24863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algn="l" defTabSz="91414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600" b="0" kern="1200">
                <a:solidFill>
                  <a:schemeClr val="bg1">
                    <a:lumMod val="75000"/>
                  </a:schemeClr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1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WSU energy management, efficiency and improvement strategy &amp; implement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8CCFD5-BF05-4488-A231-5D7A7070426A}"/>
              </a:ext>
            </a:extLst>
          </p:cNvPr>
          <p:cNvSpPr/>
          <p:nvPr userDrawn="1"/>
        </p:nvSpPr>
        <p:spPr>
          <a:xfrm>
            <a:off x="0" y="1"/>
            <a:ext cx="12192000" cy="790575"/>
          </a:xfrm>
          <a:prstGeom prst="rect">
            <a:avLst/>
          </a:prstGeom>
          <a:solidFill>
            <a:srgbClr val="243C7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AB7AEB2-681C-4286-B80B-AD8F9CC4658C}"/>
              </a:ext>
            </a:extLst>
          </p:cNvPr>
          <p:cNvSpPr txBox="1">
            <a:spLocks/>
          </p:cNvSpPr>
          <p:nvPr userDrawn="1"/>
        </p:nvSpPr>
        <p:spPr>
          <a:xfrm>
            <a:off x="609600" y="382385"/>
            <a:ext cx="9398757" cy="31135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146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0" kern="1200">
                <a:solidFill>
                  <a:schemeClr val="tx2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endParaRPr lang="en-GB" sz="20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0FB1331-7169-4611-941C-C370AAD40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421844"/>
            <a:ext cx="10991273" cy="311581"/>
          </a:xfr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EYInterstate Light" panose="02000506000000020004" pitchFamily="2" charset="0"/>
              </a:defRPr>
            </a:lvl1pPr>
          </a:lstStyle>
          <a:p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0852C14-58C5-400D-B9A7-5546C19300E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346596"/>
            <a:ext cx="5384800" cy="4779568"/>
          </a:xfrm>
        </p:spPr>
        <p:txBody>
          <a:bodyPr/>
          <a:lstStyle>
            <a:lvl1pPr marL="169863" indent="-169863">
              <a:defRPr sz="1000"/>
            </a:lvl1pPr>
            <a:lvl2pPr marL="514350" indent="-158750"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F08F4B01-B95F-4F0C-945F-3CC8C9F8722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97601" y="1346596"/>
            <a:ext cx="5384800" cy="4779568"/>
          </a:xfrm>
        </p:spPr>
        <p:txBody>
          <a:bodyPr/>
          <a:lstStyle>
            <a:lvl1pPr marL="169863" indent="-169863">
              <a:defRPr sz="1000"/>
            </a:lvl1pPr>
            <a:lvl2pPr marL="514350" indent="-158750">
              <a:defRPr sz="1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887142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65139"/>
            <a:ext cx="10972800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4" tIns="45708" rIns="91414" bIns="45708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5896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88837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E0E827-B4C3-4556-BAB1-322402C3A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6A8D9849-F43C-49DB-965C-1954A014B3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198" y="1448725"/>
            <a:ext cx="10515600" cy="515216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 marL="264961" indent="0">
              <a:buNone/>
              <a:defRPr sz="1091"/>
            </a:lvl2pPr>
            <a:lvl3pPr marL="529922" indent="0">
              <a:buNone/>
              <a:defRPr sz="1091"/>
            </a:lvl3pPr>
            <a:lvl4pPr marL="794883" indent="0">
              <a:buNone/>
              <a:defRPr sz="1091"/>
            </a:lvl4pPr>
            <a:lvl5pPr marL="1059844" indent="0">
              <a:buNone/>
              <a:defRPr sz="1091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7828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6ACA2-B8B7-411C-969D-D5CFD3AEA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862C85-DF8F-4EF2-9DC6-F22AD17C52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BEB755-B0A0-4B64-85BF-0FE9011B04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2B7D09-2B89-4BA2-B146-26622EDA5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671465-667B-4736-B3BB-CAA217147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F7B925-6543-45FD-9653-E87A75621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931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588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1135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7475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96310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12474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30" cy="5872480"/>
          </a:xfrm>
        </p:spPr>
        <p:txBody>
          <a:bodyPr/>
          <a:lstStyle>
            <a:lvl1pPr>
              <a:defRPr sz="12800" b="1" i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5056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4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1936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9660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5797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16754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99A8F-A496-49EF-9764-772AF272D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6493E-688F-43B0-949A-D945FB5EDA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390FB2-0C38-4A88-9795-F69F6621B1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5B70219-D2D5-43BA-89B3-3B3CD83973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3D2439-0A79-4555-83C3-4428E4ECDA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7F10EE-8622-4DD0-A75B-3ECEBD1E0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98D75F-9AF6-4DD8-8E63-4D44D6CD8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D7000E-E4C4-46FA-ADCF-E7D6BD824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4898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3037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90000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2292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6" cy="5726176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245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473677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3666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0838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rgbClr val="0F62FE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02D9C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043CE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9558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2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rgbClr val="0F62FE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01D6C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rgbClr val="161616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72205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01D6C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2" y="3426885"/>
            <a:ext cx="3048000" cy="3431116"/>
          </a:xfrm>
          <a:solidFill>
            <a:srgbClr val="0043CE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8"/>
          </a:xfrm>
          <a:solidFill>
            <a:srgbClr val="0F62FE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8"/>
          </a:xfrm>
          <a:solidFill>
            <a:srgbClr val="78A9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1742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A7B3E-65E8-4016-8A6F-71F1806CA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142D95-37FF-4DF8-AE99-56849451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3F889C-676B-4337-BD69-79870CF0C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526D78-108B-4A09-8480-A9A815AA4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1799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044198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4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4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4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0239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02D9C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043CE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F62FE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78A9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9414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1360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1736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81612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334"/>
            </a:lvl1pPr>
            <a:lvl2pPr>
              <a:spcBef>
                <a:spcPts val="400"/>
              </a:spcBef>
              <a:defRPr sz="1334"/>
            </a:lvl2pPr>
            <a:lvl3pPr>
              <a:spcBef>
                <a:spcPts val="400"/>
              </a:spcBef>
              <a:defRPr sz="1334"/>
            </a:lvl3pPr>
            <a:lvl4pPr>
              <a:spcBef>
                <a:spcPts val="400"/>
              </a:spcBef>
              <a:defRPr sz="1334"/>
            </a:lvl4pPr>
            <a:lvl5pPr>
              <a:spcBef>
                <a:spcPts val="400"/>
              </a:spcBef>
              <a:defRPr sz="133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783152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81612"/>
            <a:ext cx="2450592" cy="4312788"/>
          </a:xfrm>
        </p:spPr>
        <p:txBody>
          <a:bodyPr/>
          <a:lstStyle>
            <a:lvl1pPr>
              <a:spcBef>
                <a:spcPts val="400"/>
              </a:spcBef>
              <a:defRPr sz="1334"/>
            </a:lvl1pPr>
            <a:lvl2pPr>
              <a:spcBef>
                <a:spcPts val="400"/>
              </a:spcBef>
              <a:defRPr sz="1334"/>
            </a:lvl2pPr>
            <a:lvl3pPr>
              <a:spcBef>
                <a:spcPts val="400"/>
              </a:spcBef>
              <a:defRPr sz="1334"/>
            </a:lvl3pPr>
            <a:lvl4pPr>
              <a:spcBef>
                <a:spcPts val="400"/>
              </a:spcBef>
              <a:defRPr sz="1334"/>
            </a:lvl4pPr>
            <a:lvl5pPr>
              <a:spcBef>
                <a:spcPts val="400"/>
              </a:spcBef>
              <a:defRPr sz="133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0895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2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1032567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3212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08899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E316D3-3B43-4B48-AFC0-08C10178E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171BE7-E79F-4AD4-BF0E-6FF197425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6AC429-889B-41F0-A4D0-86541AB3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7775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4"/>
            </a:lvl1pPr>
            <a:lvl2pPr marL="0" indent="0">
              <a:spcBef>
                <a:spcPts val="0"/>
              </a:spcBef>
              <a:buNone/>
              <a:defRPr/>
            </a:lvl2pPr>
            <a:lvl3pPr marL="268824" indent="0">
              <a:buNone/>
              <a:defRPr/>
            </a:lvl3pPr>
            <a:lvl4pPr marL="579982" indent="0">
              <a:buNone/>
              <a:defRPr/>
            </a:lvl4pPr>
            <a:lvl5pPr marL="842455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2" y="4274263"/>
            <a:ext cx="8540991" cy="1746502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88031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4" cy="68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4200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9359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6938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2182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3118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8686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051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80456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221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86346-D998-477C-A170-436CC04F8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B192F0-C7CB-4543-9C3A-7D145A46D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FE56B6-F55B-42E9-B59D-1418696FCE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ACF7CB8-8DB8-43D7-A97D-E1B9A07DE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7E9C73-C413-4ADF-B5CD-0FF9D3E31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CE386F-1091-4A51-8868-E425A94EC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508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3467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709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9348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8EA77-67BB-4AD0-98B8-66F06B5C06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A5F6BE-D8DA-4863-9E0D-A1DDD34312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EAA180-1348-48A8-8CBD-BCB3CA7B57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490A86-D7CB-41F5-8DDF-B1CC56A806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0A6B82-DA7E-43EB-833D-BA1116BB91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F57714D-53F6-4FB1-B810-6AA2D6D43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333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9CDE88-D9B3-4011-86BD-9EC27D90F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EA3736-97E8-4A8D-AF94-BA9B471B9A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8902C5-7B34-40C0-9C65-C6C083D777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9C761B-550A-4482-87A5-7FB5ADD3E530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A8FBBA-079E-483A-8993-0FEE485657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4FA576-DCE1-4ABD-9F41-35AD0D6E7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49C04B-92DF-47A0-B286-BCE5758DB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24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609" y="2197089"/>
            <a:ext cx="7616279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611" y="2977269"/>
            <a:ext cx="6291349" cy="18076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0521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32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bg2">
              <a:lumMod val="25000"/>
            </a:schemeClr>
          </a:solidFill>
          <a:latin typeface="Gotham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9A7378-F3DB-4E1C-84F7-16B389EAF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E25C5D-B80D-4C7D-A7AC-61541AE1E1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AFF438-F2DC-8847-A2F3-9922C395C08A}"/>
              </a:ext>
            </a:extLst>
          </p:cNvPr>
          <p:cNvSpPr/>
          <p:nvPr userDrawn="1"/>
        </p:nvSpPr>
        <p:spPr>
          <a:xfrm>
            <a:off x="0" y="6237537"/>
            <a:ext cx="12192000" cy="620463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82945D-23CE-4949-B8C4-A8401B8EDC7E}"/>
              </a:ext>
            </a:extLst>
          </p:cNvPr>
          <p:cNvSpPr/>
          <p:nvPr userDrawn="1"/>
        </p:nvSpPr>
        <p:spPr>
          <a:xfrm>
            <a:off x="9272624" y="6316936"/>
            <a:ext cx="26057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S.SC.GOV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656194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8577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42" imgH="442" progId="TCLayout.ActiveDocument.1">
                  <p:embed/>
                </p:oleObj>
              </mc:Choice>
              <mc:Fallback>
                <p:oleObj name="think-cell Slide" r:id="rId16" imgW="442" imgH="44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4D6EA4-6B29-424F-9274-887D9A8733E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69889"/>
            <a:ext cx="10972800" cy="457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4758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hf sldNum="0" hdr="0" ftr="0" dt="0"/>
  <p:txStyles>
    <p:titleStyle>
      <a:lvl1pPr algn="l" defTabSz="914146" rtl="0" eaLnBrk="1" latinLnBrk="0" hangingPunct="1">
        <a:lnSpc>
          <a:spcPct val="85000"/>
        </a:lnSpc>
        <a:spcBef>
          <a:spcPct val="0"/>
        </a:spcBef>
        <a:buNone/>
        <a:defRPr sz="2400" b="0" u="none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42805" indent="-342805" algn="l" defTabSz="91414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u="none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09417" indent="-353915" algn="l" defTabSz="91414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u="none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77613" indent="-353915" algn="l" defTabSz="91414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u="none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33115" indent="-355502" algn="l" defTabSz="91414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u="none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7029" indent="-353915" algn="l" defTabSz="91414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u="none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903" indent="-228538" algn="l" defTabSz="9141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76" indent="-228538" algn="l" defTabSz="9141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50" indent="-228538" algn="l" defTabSz="9141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22" indent="-228538" algn="l" defTabSz="9141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3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46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0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92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6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0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12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86" algn="l" defTabSz="914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8473361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bg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5pPr>
      <a:lvl6pPr marL="4834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6pPr>
      <a:lvl7pPr marL="96686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7pPr>
      <a:lvl8pPr marL="14502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8pPr>
      <a:lvl9pPr marL="19337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IBM Plex Sans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IBM Plex Sans" pitchFamily="2" charset="2"/>
        <a:buNone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28606" indent="-23165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457213" indent="-23165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838221" indent="-23165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 baseline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1071060" indent="-231651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1"/>
        </a:buClr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2111655" indent="-17289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6pPr>
      <a:lvl7pPr marL="2595087" indent="-17289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7pPr>
      <a:lvl8pPr marL="3078519" indent="-17289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8pPr>
      <a:lvl9pPr marL="3561951" indent="-172896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IBM Plex Sans" charset="0"/>
        </a:defRPr>
      </a:lvl9pPr>
    </p:bodyStyle>
    <p:otherStyle>
      <a:defPPr>
        <a:defRPr lang="en-US"/>
      </a:defPPr>
      <a:lvl1pPr marL="0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30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64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94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726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158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589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4020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451" algn="l" defTabSz="966864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FA4A10-0A73-4EBB-AD79-42415210224F}" type="datetimeFigureOut">
              <a:rPr lang="en-US" smtClean="0"/>
              <a:t>2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49B2B7-F39A-42CA-9577-B929154D9A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064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6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7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emf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7C299AB-4F1D-414D-A118-0E03D68ACF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00232" y="3846879"/>
            <a:ext cx="8534720" cy="1251594"/>
          </a:xfrm>
        </p:spPr>
        <p:txBody>
          <a:bodyPr>
            <a:normAutofit/>
          </a:bodyPr>
          <a:lstStyle/>
          <a:p>
            <a:r>
              <a:rPr lang="en-US" dirty="0"/>
              <a:t>Broadband | The Road Ahea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642806-D315-4443-B3B5-83C716800D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losing </a:t>
            </a:r>
            <a:r>
              <a:rPr lang="en-US" sz="2800"/>
              <a:t>the SC Digital </a:t>
            </a:r>
            <a:r>
              <a:rPr lang="en-US" sz="2800" dirty="0"/>
              <a:t>Div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DC6C6D-A05D-2B4C-BFB5-BE4D3D59FF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88769" y="5224672"/>
            <a:ext cx="3448455" cy="400091"/>
          </a:xfrm>
        </p:spPr>
        <p:txBody>
          <a:bodyPr/>
          <a:lstStyle/>
          <a:p>
            <a:r>
              <a:rPr lang="en-US" dirty="0"/>
              <a:t>February 26, 2024</a:t>
            </a: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0C643604-960A-2941-BDA7-38E43DA236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496" y="3569801"/>
            <a:ext cx="2524304" cy="2144127"/>
          </a:xfrm>
          <a:prstGeom prst="rect">
            <a:avLst/>
          </a:prstGeom>
        </p:spPr>
      </p:pic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D89101EC-F06A-40D9-AABD-72FED56D26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3520" y="328999"/>
            <a:ext cx="3026776" cy="932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6306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18BD93-A1C9-3D47-8C9F-D7BDC1D59145}"/>
              </a:ext>
            </a:extLst>
          </p:cNvPr>
          <p:cNvSpPr/>
          <p:nvPr/>
        </p:nvSpPr>
        <p:spPr>
          <a:xfrm>
            <a:off x="0" y="6237537"/>
            <a:ext cx="12192000" cy="620463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0832D5-3296-8C4D-9049-DD3EA3AB4C44}"/>
              </a:ext>
            </a:extLst>
          </p:cNvPr>
          <p:cNvSpPr txBox="1"/>
          <p:nvPr/>
        </p:nvSpPr>
        <p:spPr>
          <a:xfrm>
            <a:off x="7555831" y="6309011"/>
            <a:ext cx="39174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S.SC.GOV/Broadband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F08E3EE7-AACF-415B-8EBB-7B15B5D59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39720" y="2575227"/>
            <a:ext cx="3534" cy="57607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9818358-8DE6-4020-BC86-5037675D62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31332" y="2680498"/>
            <a:ext cx="3534" cy="576072"/>
          </a:xfrm>
          <a:prstGeom prst="rect">
            <a:avLst/>
          </a:prstGeom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E0896442-A54C-41FA-B755-01857E52E83B}"/>
              </a:ext>
            </a:extLst>
          </p:cNvPr>
          <p:cNvSpPr txBox="1">
            <a:spLocks/>
          </p:cNvSpPr>
          <p:nvPr/>
        </p:nvSpPr>
        <p:spPr>
          <a:xfrm>
            <a:off x="1177934" y="384487"/>
            <a:ext cx="9750197" cy="469116"/>
          </a:xfrm>
          <a:prstGeom prst="rect">
            <a:avLst/>
          </a:prstGeom>
        </p:spPr>
        <p:txBody>
          <a:bodyPr vert="horz" lIns="0" tIns="0" rIns="0" bIns="0" rtlCol="0" anchor="ctr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7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1" i="0" u="none" strike="noStrike" kern="1200" cap="none" spc="-50" normalizeH="0" baseline="0" noProof="0" dirty="0">
                <a:ln>
                  <a:noFill/>
                </a:ln>
                <a:solidFill>
                  <a:srgbClr val="1E3366"/>
                </a:solidFill>
                <a:effectLst/>
                <a:uLnTx/>
                <a:uFillTx/>
                <a:latin typeface="Arial"/>
                <a:ea typeface="+mj-ea"/>
                <a:cs typeface="Times"/>
              </a:rPr>
              <a:t>2024 SC BROADBAND GRANT PROGRAMS</a:t>
            </a:r>
            <a:endParaRPr kumimoji="0" lang="ru-RU" sz="3300" b="1" i="0" u="none" strike="noStrike" kern="1200" cap="none" spc="-50" normalizeH="0" baseline="0" noProof="0" dirty="0">
              <a:ln>
                <a:noFill/>
              </a:ln>
              <a:solidFill>
                <a:srgbClr val="1E3366"/>
              </a:solidFill>
              <a:effectLst/>
              <a:uLnTx/>
              <a:uFillTx/>
              <a:latin typeface="Arial"/>
              <a:ea typeface="+mj-ea"/>
              <a:cs typeface="Time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0DDAE74-79F7-4C0A-8E29-F5072EB7109C}"/>
              </a:ext>
            </a:extLst>
          </p:cNvPr>
          <p:cNvSpPr/>
          <p:nvPr/>
        </p:nvSpPr>
        <p:spPr>
          <a:xfrm>
            <a:off x="5361597" y="2289990"/>
            <a:ext cx="1723943" cy="5760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ority Area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82510D9-70C8-44EE-A20D-BB4860F5E532}"/>
              </a:ext>
            </a:extLst>
          </p:cNvPr>
          <p:cNvSpPr/>
          <p:nvPr/>
        </p:nvSpPr>
        <p:spPr>
          <a:xfrm>
            <a:off x="3316444" y="2289990"/>
            <a:ext cx="1723943" cy="5760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st Mile Pilot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6CD7361-31DD-450B-8459-46958C785DE0}"/>
              </a:ext>
            </a:extLst>
          </p:cNvPr>
          <p:cNvSpPr/>
          <p:nvPr/>
        </p:nvSpPr>
        <p:spPr>
          <a:xfrm>
            <a:off x="8421300" y="2330980"/>
            <a:ext cx="1723943" cy="5760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ler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cts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97DF1E2C-7E4B-499F-9B17-03192D3D97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10027" y="818114"/>
            <a:ext cx="1863377" cy="1051123"/>
          </a:xfrm>
          <a:prstGeom prst="rect">
            <a:avLst/>
          </a:prstGeom>
        </p:spPr>
      </p:pic>
      <p:sp>
        <p:nvSpPr>
          <p:cNvPr id="22" name="Text Placeholder 76">
            <a:extLst>
              <a:ext uri="{FF2B5EF4-FFF2-40B4-BE49-F238E27FC236}">
                <a16:creationId xmlns:a16="http://schemas.microsoft.com/office/drawing/2014/main" id="{C4695C6B-D9B6-4E4E-829D-EAA67FA54DA7}"/>
              </a:ext>
            </a:extLst>
          </p:cNvPr>
          <p:cNvSpPr txBox="1">
            <a:spLocks/>
          </p:cNvSpPr>
          <p:nvPr/>
        </p:nvSpPr>
        <p:spPr>
          <a:xfrm>
            <a:off x="745212" y="2414330"/>
            <a:ext cx="512064" cy="511200"/>
          </a:xfrm>
          <a:prstGeom prst="ellipse">
            <a:avLst/>
          </a:prstGeom>
          <a:solidFill>
            <a:srgbClr val="FFFFFF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2</a:t>
            </a: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 Placeholder 17">
            <a:extLst>
              <a:ext uri="{FF2B5EF4-FFF2-40B4-BE49-F238E27FC236}">
                <a16:creationId xmlns:a16="http://schemas.microsoft.com/office/drawing/2014/main" id="{DCF4C14F-EC51-40E3-93A3-5565BD690A63}"/>
              </a:ext>
            </a:extLst>
          </p:cNvPr>
          <p:cNvSpPr txBox="1">
            <a:spLocks/>
          </p:cNvSpPr>
          <p:nvPr/>
        </p:nvSpPr>
        <p:spPr>
          <a:xfrm>
            <a:off x="10260333" y="1010026"/>
            <a:ext cx="1844927" cy="191562"/>
          </a:xfrm>
          <a:prstGeom prst="rect">
            <a:avLst/>
          </a:prstGeom>
        </p:spPr>
        <p:txBody>
          <a:bodyPr vert="horz" lIns="18000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. 2024 Maps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44491175-D480-4737-9231-4AD89CDF0490}"/>
              </a:ext>
            </a:extLst>
          </p:cNvPr>
          <p:cNvSpPr txBox="1">
            <a:spLocks/>
          </p:cNvSpPr>
          <p:nvPr/>
        </p:nvSpPr>
        <p:spPr>
          <a:xfrm>
            <a:off x="10287891" y="1213707"/>
            <a:ext cx="1669942" cy="599813"/>
          </a:xfrm>
          <a:prstGeom prst="rect">
            <a:avLst/>
          </a:prstGeom>
        </p:spPr>
        <p:txBody>
          <a:bodyPr vert="horz" lIns="18000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CC Jun. 30, 2024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okla Sep. 30,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sh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De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7260F77F-DA03-4CB8-8617-42FD25DFAA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399495" y="2226446"/>
            <a:ext cx="13190492" cy="88696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511709C-D1B7-441E-A9E0-425F0735D2D5}"/>
              </a:ext>
            </a:extLst>
          </p:cNvPr>
          <p:cNvCxnSpPr>
            <a:cxnSpLocks/>
          </p:cNvCxnSpPr>
          <p:nvPr/>
        </p:nvCxnSpPr>
        <p:spPr>
          <a:xfrm>
            <a:off x="-142043" y="2669931"/>
            <a:ext cx="12734093" cy="0"/>
          </a:xfrm>
          <a:prstGeom prst="line">
            <a:avLst/>
          </a:prstGeom>
          <a:noFill/>
          <a:ln w="635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16CBBCD-D87D-4FE7-8C6D-5FA2D8FA577A}"/>
              </a:ext>
            </a:extLst>
          </p:cNvPr>
          <p:cNvSpPr txBox="1"/>
          <p:nvPr/>
        </p:nvSpPr>
        <p:spPr>
          <a:xfrm>
            <a:off x="8520157" y="5440202"/>
            <a:ext cx="15518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 time progra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9B08B82-206F-4E32-AD64-C759A843008A}"/>
              </a:ext>
            </a:extLst>
          </p:cNvPr>
          <p:cNvSpPr/>
          <p:nvPr/>
        </p:nvSpPr>
        <p:spPr>
          <a:xfrm>
            <a:off x="220132" y="2877719"/>
            <a:ext cx="11724176" cy="29862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58245C0-A74C-43BB-992E-3A93688DC32A}"/>
              </a:ext>
            </a:extLst>
          </p:cNvPr>
          <p:cNvCxnSpPr>
            <a:cxnSpLocks/>
            <a:stCxn id="46" idx="4"/>
          </p:cNvCxnSpPr>
          <p:nvPr/>
        </p:nvCxnSpPr>
        <p:spPr>
          <a:xfrm>
            <a:off x="6091909" y="2497786"/>
            <a:ext cx="15468" cy="246446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7AC3C51-EBDC-4B43-B5E9-D352F97C8E6D}"/>
              </a:ext>
            </a:extLst>
          </p:cNvPr>
          <p:cNvCxnSpPr>
            <a:cxnSpLocks/>
            <a:stCxn id="49" idx="4"/>
          </p:cNvCxnSpPr>
          <p:nvPr/>
        </p:nvCxnSpPr>
        <p:spPr>
          <a:xfrm flipH="1">
            <a:off x="2510270" y="2490795"/>
            <a:ext cx="510" cy="485101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57F9A5E-B2F3-4278-B236-92939DBAF304}"/>
              </a:ext>
            </a:extLst>
          </p:cNvPr>
          <p:cNvCxnSpPr>
            <a:cxnSpLocks/>
          </p:cNvCxnSpPr>
          <p:nvPr/>
        </p:nvCxnSpPr>
        <p:spPr>
          <a:xfrm>
            <a:off x="12041122" y="1657163"/>
            <a:ext cx="0" cy="577186"/>
          </a:xfrm>
          <a:prstGeom prst="line">
            <a:avLst/>
          </a:prstGeom>
          <a:noFill/>
          <a:ln w="12700" cap="rnd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369A4CFB-39BE-439F-933B-DA29CBB33291}"/>
              </a:ext>
            </a:extLst>
          </p:cNvPr>
          <p:cNvSpPr txBox="1"/>
          <p:nvPr/>
        </p:nvSpPr>
        <p:spPr>
          <a:xfrm>
            <a:off x="123470" y="5977459"/>
            <a:ext cx="5922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All dates are subject to change without notice, assume timely NTIA approvals.</a:t>
            </a: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C5785321-8B5C-A5CB-F112-92C7613B8A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55494" y="826798"/>
            <a:ext cx="1863377" cy="1049224"/>
          </a:xfrm>
          <a:prstGeom prst="rect">
            <a:avLst/>
          </a:prstGeom>
        </p:spPr>
      </p:pic>
      <p:sp>
        <p:nvSpPr>
          <p:cNvPr id="54" name="Text Placeholder 17">
            <a:extLst>
              <a:ext uri="{FF2B5EF4-FFF2-40B4-BE49-F238E27FC236}">
                <a16:creationId xmlns:a16="http://schemas.microsoft.com/office/drawing/2014/main" id="{F44B9ED4-B8DC-32AB-32D0-9CBD2DB60E21}"/>
              </a:ext>
            </a:extLst>
          </p:cNvPr>
          <p:cNvSpPr txBox="1">
            <a:spLocks/>
          </p:cNvSpPr>
          <p:nvPr/>
        </p:nvSpPr>
        <p:spPr>
          <a:xfrm>
            <a:off x="6479678" y="1018710"/>
            <a:ext cx="1844927" cy="191562"/>
          </a:xfrm>
          <a:prstGeom prst="rect">
            <a:avLst/>
          </a:prstGeom>
        </p:spPr>
        <p:txBody>
          <a:bodyPr vert="horz" lIns="180000" tIns="0" rIns="0" bIns="0" rtlCol="0" anchor="t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r. 2024 Maps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Text Placeholder 18">
            <a:extLst>
              <a:ext uri="{FF2B5EF4-FFF2-40B4-BE49-F238E27FC236}">
                <a16:creationId xmlns:a16="http://schemas.microsoft.com/office/drawing/2014/main" id="{AF95EE42-7F67-8763-838F-DE4009B2E8A4}"/>
              </a:ext>
            </a:extLst>
          </p:cNvPr>
          <p:cNvSpPr txBox="1">
            <a:spLocks/>
          </p:cNvSpPr>
          <p:nvPr/>
        </p:nvSpPr>
        <p:spPr>
          <a:xfrm>
            <a:off x="6498359" y="1222391"/>
            <a:ext cx="1669942" cy="638314"/>
          </a:xfrm>
          <a:prstGeom prst="rect">
            <a:avLst/>
          </a:prstGeom>
        </p:spPr>
        <p:txBody>
          <a:bodyPr vert="horz" lIns="18000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CC Dec. 31,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okla Mar. 31, 2024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sh Jul.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3F0BB04-B8A9-434F-379F-E7BFD04EF99E}"/>
              </a:ext>
            </a:extLst>
          </p:cNvPr>
          <p:cNvCxnSpPr>
            <a:cxnSpLocks/>
          </p:cNvCxnSpPr>
          <p:nvPr/>
        </p:nvCxnSpPr>
        <p:spPr>
          <a:xfrm>
            <a:off x="6475365" y="1665847"/>
            <a:ext cx="0" cy="577186"/>
          </a:xfrm>
          <a:prstGeom prst="line">
            <a:avLst/>
          </a:prstGeom>
          <a:noFill/>
          <a:ln w="12700" cap="rnd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32" name="Text Placeholder 76">
            <a:extLst>
              <a:ext uri="{FF2B5EF4-FFF2-40B4-BE49-F238E27FC236}">
                <a16:creationId xmlns:a16="http://schemas.microsoft.com/office/drawing/2014/main" id="{8661AB36-9D14-40BE-B0C6-486CB46DD51D}"/>
              </a:ext>
            </a:extLst>
          </p:cNvPr>
          <p:cNvSpPr txBox="1">
            <a:spLocks/>
          </p:cNvSpPr>
          <p:nvPr/>
        </p:nvSpPr>
        <p:spPr>
          <a:xfrm>
            <a:off x="11686459" y="2414330"/>
            <a:ext cx="512064" cy="511200"/>
          </a:xfrm>
          <a:prstGeom prst="ellipse">
            <a:avLst/>
          </a:prstGeom>
          <a:solidFill>
            <a:srgbClr val="FFFFFF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4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2DFF55D-6D40-4A1C-B16D-6555946BBF51}"/>
              </a:ext>
            </a:extLst>
          </p:cNvPr>
          <p:cNvSpPr/>
          <p:nvPr/>
        </p:nvSpPr>
        <p:spPr>
          <a:xfrm rot="16200000">
            <a:off x="9855736" y="3541795"/>
            <a:ext cx="365760" cy="41835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gins 30+ days after challeng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72CF7B5-C075-4F4F-A338-854EFDFD6875}"/>
              </a:ext>
            </a:extLst>
          </p:cNvPr>
          <p:cNvSpPr/>
          <p:nvPr/>
        </p:nvSpPr>
        <p:spPr>
          <a:xfrm>
            <a:off x="7946860" y="4965613"/>
            <a:ext cx="4183505" cy="481367"/>
          </a:xfrm>
          <a:prstGeom prst="rect">
            <a:avLst/>
          </a:prstGeom>
          <a:solidFill>
            <a:srgbClr val="FFE699"/>
          </a:solidFill>
          <a:ln>
            <a:solidFill>
              <a:srgbClr val="1325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D Subgrantee Selec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D171ADF-7C00-4ACC-83C3-5D1FEA5F2747}"/>
              </a:ext>
            </a:extLst>
          </p:cNvPr>
          <p:cNvCxnSpPr>
            <a:cxnSpLocks/>
            <a:stCxn id="63" idx="4"/>
          </p:cNvCxnSpPr>
          <p:nvPr/>
        </p:nvCxnSpPr>
        <p:spPr>
          <a:xfrm>
            <a:off x="3788515" y="2501150"/>
            <a:ext cx="0" cy="246446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446C5549-711F-46FC-9E73-D5C61EBB39D8}"/>
              </a:ext>
            </a:extLst>
          </p:cNvPr>
          <p:cNvSpPr/>
          <p:nvPr/>
        </p:nvSpPr>
        <p:spPr>
          <a:xfrm rot="16200000">
            <a:off x="4765065" y="4477568"/>
            <a:ext cx="365760" cy="231886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0-Day Expect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679B70-03AA-C453-5DBC-9AADDDB695A8}"/>
              </a:ext>
            </a:extLst>
          </p:cNvPr>
          <p:cNvSpPr/>
          <p:nvPr/>
        </p:nvSpPr>
        <p:spPr>
          <a:xfrm>
            <a:off x="-142043" y="5337888"/>
            <a:ext cx="3930551" cy="22451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NTIA Curing/Approval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66BAA89-D70D-4822-8848-FB6208A3987E}"/>
              </a:ext>
            </a:extLst>
          </p:cNvPr>
          <p:cNvSpPr/>
          <p:nvPr/>
        </p:nvSpPr>
        <p:spPr>
          <a:xfrm>
            <a:off x="3788514" y="4967851"/>
            <a:ext cx="2318863" cy="481367"/>
          </a:xfrm>
          <a:prstGeom prst="rect">
            <a:avLst/>
          </a:prstGeom>
          <a:solidFill>
            <a:srgbClr val="FFE699"/>
          </a:solidFill>
          <a:ln>
            <a:solidFill>
              <a:srgbClr val="1325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AD Challen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 Placeholder 76">
            <a:extLst>
              <a:ext uri="{FF2B5EF4-FFF2-40B4-BE49-F238E27FC236}">
                <a16:creationId xmlns:a16="http://schemas.microsoft.com/office/drawing/2014/main" id="{6D6905AC-96C9-4967-9A82-E6DC4CDB95CA}"/>
              </a:ext>
            </a:extLst>
          </p:cNvPr>
          <p:cNvSpPr txBox="1">
            <a:spLocks/>
          </p:cNvSpPr>
          <p:nvPr/>
        </p:nvSpPr>
        <p:spPr>
          <a:xfrm>
            <a:off x="-21150" y="2414330"/>
            <a:ext cx="512064" cy="511200"/>
          </a:xfrm>
          <a:prstGeom prst="ellipse">
            <a:avLst/>
          </a:prstGeom>
          <a:solidFill>
            <a:srgbClr val="FFFFFF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4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Text Placeholder 76">
            <a:extLst>
              <a:ext uri="{FF2B5EF4-FFF2-40B4-BE49-F238E27FC236}">
                <a16:creationId xmlns:a16="http://schemas.microsoft.com/office/drawing/2014/main" id="{36B3042B-2F4E-4160-9388-AB96C8E623E5}"/>
              </a:ext>
            </a:extLst>
          </p:cNvPr>
          <p:cNvSpPr txBox="1">
            <a:spLocks/>
          </p:cNvSpPr>
          <p:nvPr/>
        </p:nvSpPr>
        <p:spPr>
          <a:xfrm>
            <a:off x="5835877" y="1986586"/>
            <a:ext cx="512064" cy="511200"/>
          </a:xfrm>
          <a:prstGeom prst="ellipse">
            <a:avLst/>
          </a:prstGeom>
          <a:solidFill>
            <a:srgbClr val="FF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07AE594-ED40-1DFA-D947-CD96F0ED5FE6}"/>
              </a:ext>
            </a:extLst>
          </p:cNvPr>
          <p:cNvCxnSpPr>
            <a:cxnSpLocks/>
            <a:stCxn id="20" idx="4"/>
          </p:cNvCxnSpPr>
          <p:nvPr/>
        </p:nvCxnSpPr>
        <p:spPr>
          <a:xfrm flipH="1">
            <a:off x="7946860" y="2496796"/>
            <a:ext cx="34839" cy="2465453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sp>
        <p:nvSpPr>
          <p:cNvPr id="20" name="Text Placeholder 76">
            <a:extLst>
              <a:ext uri="{FF2B5EF4-FFF2-40B4-BE49-F238E27FC236}">
                <a16:creationId xmlns:a16="http://schemas.microsoft.com/office/drawing/2014/main" id="{118DF431-E31A-9228-BA57-1A931883F05D}"/>
              </a:ext>
            </a:extLst>
          </p:cNvPr>
          <p:cNvSpPr txBox="1">
            <a:spLocks/>
          </p:cNvSpPr>
          <p:nvPr/>
        </p:nvSpPr>
        <p:spPr>
          <a:xfrm>
            <a:off x="7725667" y="1985596"/>
            <a:ext cx="512064" cy="511200"/>
          </a:xfrm>
          <a:prstGeom prst="ellipse">
            <a:avLst/>
          </a:prstGeom>
          <a:solidFill>
            <a:srgbClr val="00B05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6D78A4D-0506-CFEF-D9B8-FD61BAE17C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2542" y="796297"/>
            <a:ext cx="1863377" cy="1051123"/>
          </a:xfrm>
          <a:prstGeom prst="rect">
            <a:avLst/>
          </a:prstGeom>
        </p:spPr>
      </p:pic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AAA0500B-9067-8AC4-623D-66EFF2A707E8}"/>
              </a:ext>
            </a:extLst>
          </p:cNvPr>
          <p:cNvSpPr txBox="1">
            <a:spLocks/>
          </p:cNvSpPr>
          <p:nvPr/>
        </p:nvSpPr>
        <p:spPr>
          <a:xfrm>
            <a:off x="232848" y="988209"/>
            <a:ext cx="1844927" cy="191562"/>
          </a:xfrm>
          <a:prstGeom prst="rect">
            <a:avLst/>
          </a:prstGeom>
        </p:spPr>
        <p:txBody>
          <a:bodyPr vert="horz" lIns="18000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. 2023 Maps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0F427025-93DC-9ABF-4625-75284947436A}"/>
              </a:ext>
            </a:extLst>
          </p:cNvPr>
          <p:cNvSpPr txBox="1">
            <a:spLocks/>
          </p:cNvSpPr>
          <p:nvPr/>
        </p:nvSpPr>
        <p:spPr>
          <a:xfrm>
            <a:off x="260406" y="1191890"/>
            <a:ext cx="1669942" cy="599813"/>
          </a:xfrm>
          <a:prstGeom prst="rect">
            <a:avLst/>
          </a:prstGeom>
        </p:spPr>
        <p:txBody>
          <a:bodyPr vert="horz" lIns="18000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CC Jun. 30, 2023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okla Sep. 30,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sh Feb. 202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EB84CF3-2630-8BFB-5F25-8690E122AC7B}"/>
              </a:ext>
            </a:extLst>
          </p:cNvPr>
          <p:cNvCxnSpPr>
            <a:cxnSpLocks/>
          </p:cNvCxnSpPr>
          <p:nvPr/>
        </p:nvCxnSpPr>
        <p:spPr>
          <a:xfrm>
            <a:off x="2045919" y="1295601"/>
            <a:ext cx="1028207" cy="0"/>
          </a:xfrm>
          <a:prstGeom prst="line">
            <a:avLst/>
          </a:prstGeom>
          <a:noFill/>
          <a:ln w="12700" cap="rnd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9" name="Text Placeholder 76">
            <a:extLst>
              <a:ext uri="{FF2B5EF4-FFF2-40B4-BE49-F238E27FC236}">
                <a16:creationId xmlns:a16="http://schemas.microsoft.com/office/drawing/2014/main" id="{6327D1EE-E507-94EC-970E-E3F512A0BE76}"/>
              </a:ext>
            </a:extLst>
          </p:cNvPr>
          <p:cNvSpPr txBox="1">
            <a:spLocks/>
          </p:cNvSpPr>
          <p:nvPr/>
        </p:nvSpPr>
        <p:spPr>
          <a:xfrm>
            <a:off x="2199364" y="1363175"/>
            <a:ext cx="512064" cy="511200"/>
          </a:xfrm>
          <a:prstGeom prst="ellipse">
            <a:avLst/>
          </a:prstGeom>
          <a:solidFill>
            <a:srgbClr val="FF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EEEF14B-AE75-8B14-E90C-B85F709D215D}"/>
              </a:ext>
            </a:extLst>
          </p:cNvPr>
          <p:cNvCxnSpPr>
            <a:cxnSpLocks/>
          </p:cNvCxnSpPr>
          <p:nvPr/>
        </p:nvCxnSpPr>
        <p:spPr>
          <a:xfrm>
            <a:off x="2458126" y="1868337"/>
            <a:ext cx="3" cy="1453577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sp>
        <p:nvSpPr>
          <p:cNvPr id="11" name="Text Placeholder 76">
            <a:extLst>
              <a:ext uri="{FF2B5EF4-FFF2-40B4-BE49-F238E27FC236}">
                <a16:creationId xmlns:a16="http://schemas.microsoft.com/office/drawing/2014/main" id="{2E9A9143-D109-1CA8-3157-9CEB746CFA61}"/>
              </a:ext>
            </a:extLst>
          </p:cNvPr>
          <p:cNvSpPr txBox="1">
            <a:spLocks/>
          </p:cNvSpPr>
          <p:nvPr/>
        </p:nvSpPr>
        <p:spPr>
          <a:xfrm>
            <a:off x="3463936" y="1373698"/>
            <a:ext cx="512064" cy="511200"/>
          </a:xfrm>
          <a:prstGeom prst="ellipse">
            <a:avLst/>
          </a:prstGeom>
          <a:solidFill>
            <a:srgbClr val="FF000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CDC8D33-198D-90A1-F403-D39A44C85F57}"/>
              </a:ext>
            </a:extLst>
          </p:cNvPr>
          <p:cNvCxnSpPr>
            <a:cxnSpLocks/>
          </p:cNvCxnSpPr>
          <p:nvPr/>
        </p:nvCxnSpPr>
        <p:spPr>
          <a:xfrm flipH="1">
            <a:off x="3719968" y="1876022"/>
            <a:ext cx="11551" cy="2061969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miter lim="800000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50738DD-CE38-1019-E9D6-9B1E124AAEA5}"/>
              </a:ext>
            </a:extLst>
          </p:cNvPr>
          <p:cNvSpPr/>
          <p:nvPr/>
        </p:nvSpPr>
        <p:spPr>
          <a:xfrm rot="16200000">
            <a:off x="1719524" y="2792547"/>
            <a:ext cx="365760" cy="363122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roug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. 30, 202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5B79B43-88C6-06A6-81D5-A5C588CAFE06}"/>
              </a:ext>
            </a:extLst>
          </p:cNvPr>
          <p:cNvSpPr/>
          <p:nvPr/>
        </p:nvSpPr>
        <p:spPr>
          <a:xfrm>
            <a:off x="86784" y="3940229"/>
            <a:ext cx="3631234" cy="481367"/>
          </a:xfrm>
          <a:prstGeom prst="rect">
            <a:avLst/>
          </a:prstGeom>
          <a:solidFill>
            <a:srgbClr val="13254D"/>
          </a:solidFill>
          <a:ln>
            <a:solidFill>
              <a:srgbClr val="1325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PA SLFRF 2.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3378EC-ABD0-A856-03F8-A7753B6550B7}"/>
              </a:ext>
            </a:extLst>
          </p:cNvPr>
          <p:cNvSpPr/>
          <p:nvPr/>
        </p:nvSpPr>
        <p:spPr>
          <a:xfrm rot="16200000">
            <a:off x="1103504" y="2463257"/>
            <a:ext cx="343300" cy="23526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 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5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70A0F5-4F5E-B7C3-ABE5-1993256928B7}"/>
              </a:ext>
            </a:extLst>
          </p:cNvPr>
          <p:cNvSpPr/>
          <p:nvPr/>
        </p:nvSpPr>
        <p:spPr>
          <a:xfrm>
            <a:off x="103185" y="2975896"/>
            <a:ext cx="2352636" cy="481367"/>
          </a:xfrm>
          <a:prstGeom prst="rect">
            <a:avLst/>
          </a:prstGeom>
          <a:solidFill>
            <a:srgbClr val="13254D"/>
          </a:solidFill>
          <a:ln>
            <a:solidFill>
              <a:srgbClr val="1325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PA CPF 1.0</a:t>
            </a:r>
          </a:p>
        </p:txBody>
      </p:sp>
      <p:sp>
        <p:nvSpPr>
          <p:cNvPr id="49" name="Text Placeholder 76">
            <a:extLst>
              <a:ext uri="{FF2B5EF4-FFF2-40B4-BE49-F238E27FC236}">
                <a16:creationId xmlns:a16="http://schemas.microsoft.com/office/drawing/2014/main" id="{57C26EAC-12AC-4CF1-A1DF-C653CB1E430E}"/>
              </a:ext>
            </a:extLst>
          </p:cNvPr>
          <p:cNvSpPr txBox="1">
            <a:spLocks/>
          </p:cNvSpPr>
          <p:nvPr/>
        </p:nvSpPr>
        <p:spPr>
          <a:xfrm>
            <a:off x="2254748" y="1979595"/>
            <a:ext cx="512064" cy="511200"/>
          </a:xfrm>
          <a:prstGeom prst="ellipse">
            <a:avLst/>
          </a:prstGeom>
          <a:solidFill>
            <a:srgbClr val="00B05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63" name="Text Placeholder 76">
            <a:extLst>
              <a:ext uri="{FF2B5EF4-FFF2-40B4-BE49-F238E27FC236}">
                <a16:creationId xmlns:a16="http://schemas.microsoft.com/office/drawing/2014/main" id="{77DED3CD-6593-4A56-A53A-06642FA4756A}"/>
              </a:ext>
            </a:extLst>
          </p:cNvPr>
          <p:cNvSpPr txBox="1">
            <a:spLocks/>
          </p:cNvSpPr>
          <p:nvPr/>
        </p:nvSpPr>
        <p:spPr>
          <a:xfrm>
            <a:off x="3532483" y="1989950"/>
            <a:ext cx="512064" cy="511200"/>
          </a:xfrm>
          <a:prstGeom prst="ellipse">
            <a:avLst/>
          </a:prstGeom>
          <a:solidFill>
            <a:srgbClr val="00B050"/>
          </a:solidFill>
          <a:ln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51A8B66-FCA6-4CAA-AB04-C6E60E5B655C}"/>
              </a:ext>
            </a:extLst>
          </p:cNvPr>
          <p:cNvSpPr/>
          <p:nvPr/>
        </p:nvSpPr>
        <p:spPr>
          <a:xfrm rot="16200000">
            <a:off x="4118902" y="1834642"/>
            <a:ext cx="365760" cy="358740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 done by 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6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35AE046-213D-4804-829A-CA647D4FA23E}"/>
              </a:ext>
            </a:extLst>
          </p:cNvPr>
          <p:cNvSpPr/>
          <p:nvPr/>
        </p:nvSpPr>
        <p:spPr>
          <a:xfrm>
            <a:off x="2508076" y="2979206"/>
            <a:ext cx="3587408" cy="484632"/>
          </a:xfrm>
          <a:prstGeom prst="rect">
            <a:avLst/>
          </a:prstGeom>
          <a:solidFill>
            <a:srgbClr val="13254D"/>
          </a:solidFill>
          <a:ln>
            <a:solidFill>
              <a:srgbClr val="1325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PA SLFRF 3.0 Grant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5BE54DD-0197-1888-2844-35447ADF3D06}"/>
              </a:ext>
            </a:extLst>
          </p:cNvPr>
          <p:cNvCxnSpPr>
            <a:cxnSpLocks/>
          </p:cNvCxnSpPr>
          <p:nvPr/>
        </p:nvCxnSpPr>
        <p:spPr>
          <a:xfrm>
            <a:off x="3074126" y="1295601"/>
            <a:ext cx="0" cy="927161"/>
          </a:xfrm>
          <a:prstGeom prst="line">
            <a:avLst/>
          </a:prstGeom>
          <a:noFill/>
          <a:ln w="12700" cap="rnd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  <a:headEnd type="oval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3048729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D5E02D-29A0-0760-3547-F2CF4FBC4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bout BEA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A38AA1-8023-FE85-9A5C-A5EFFDDCACA8}"/>
              </a:ext>
            </a:extLst>
          </p:cNvPr>
          <p:cNvSpPr txBox="1"/>
          <p:nvPr/>
        </p:nvSpPr>
        <p:spPr>
          <a:xfrm>
            <a:off x="239673" y="1730042"/>
            <a:ext cx="11382035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frastructure Investment and Jobs Act (IIJA)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tal Equity (DE) – Adoption and Us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roadband Equity Access and Deployment (BEAD)  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$551.5 million allocation for SC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roadband Deployment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ust provide access to </a:t>
            </a:r>
            <a:r>
              <a:rPr kumimoji="0" lang="en-US" sz="20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homes and business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roughout state (first)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xt, must connect Community Anchor Institutions (&lt; 1Gbps symmetric)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Deployment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ly occurs after SCBBO confirms enough allocation available to provide access to </a:t>
            </a:r>
            <a:r>
              <a:rPr kumimoji="0" lang="en-US" sz="20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 homes and business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hroughout state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itial Proposal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lume 1 – BEAD Challenge Process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olume 2 – Establishment of BEAD Grant Progr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A31C93E-5BEB-2B9C-A61A-E055014EFFF5}"/>
              </a:ext>
            </a:extLst>
          </p:cNvPr>
          <p:cNvCxnSpPr>
            <a:cxnSpLocks/>
          </p:cNvCxnSpPr>
          <p:nvPr/>
        </p:nvCxnSpPr>
        <p:spPr>
          <a:xfrm>
            <a:off x="6984849" y="2547843"/>
            <a:ext cx="352653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4D4F2DA-0F93-A302-F314-056FFAEA2B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6252" y="769434"/>
            <a:ext cx="4405456" cy="2129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0782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5F86117-4C02-0E49-B5ED-9086E60F15F1}"/>
              </a:ext>
            </a:extLst>
          </p:cNvPr>
          <p:cNvSpPr/>
          <p:nvPr/>
        </p:nvSpPr>
        <p:spPr>
          <a:xfrm>
            <a:off x="0" y="10514"/>
            <a:ext cx="12192000" cy="6858000"/>
          </a:xfrm>
          <a:prstGeom prst="rect">
            <a:avLst/>
          </a:prstGeom>
          <a:solidFill>
            <a:srgbClr val="1E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1E0074-5B38-DF4B-A60C-986ED56EB5A9}"/>
              </a:ext>
            </a:extLst>
          </p:cNvPr>
          <p:cNvSpPr/>
          <p:nvPr/>
        </p:nvSpPr>
        <p:spPr>
          <a:xfrm>
            <a:off x="0" y="6537434"/>
            <a:ext cx="12192000" cy="320566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picture containing light&#10;&#10;Description automatically generated">
            <a:extLst>
              <a:ext uri="{FF2B5EF4-FFF2-40B4-BE49-F238E27FC236}">
                <a16:creationId xmlns:a16="http://schemas.microsoft.com/office/drawing/2014/main" id="{4F07A127-D264-4B49-8095-F8ADE41D47A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757" r="14151"/>
          <a:stretch/>
        </p:blipFill>
        <p:spPr>
          <a:xfrm>
            <a:off x="8347798" y="-1"/>
            <a:ext cx="3844202" cy="290750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C5B3E5-3FA3-4798-816C-6ADA629AD8E3}"/>
              </a:ext>
            </a:extLst>
          </p:cNvPr>
          <p:cNvSpPr txBox="1"/>
          <p:nvPr/>
        </p:nvSpPr>
        <p:spPr>
          <a:xfrm>
            <a:off x="4477521" y="2087025"/>
            <a:ext cx="3236957" cy="16409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im Stritzing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rector, SC Broadband Offic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stritzinger@ors.sc.gov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ice: (803) 737-0825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bile: (803) 606-6398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FD1F40-092A-4910-BC46-76A352151A01}"/>
              </a:ext>
            </a:extLst>
          </p:cNvPr>
          <p:cNvSpPr/>
          <p:nvPr/>
        </p:nvSpPr>
        <p:spPr>
          <a:xfrm>
            <a:off x="562727" y="2468572"/>
            <a:ext cx="846436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CDF8FDC8-669D-4B05-BE06-11660BD8DC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8" y="4715086"/>
            <a:ext cx="4293922" cy="131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880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522C4896-E7B3-DB1E-D8B5-749EAEA1D25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5" t="22730" r="4850" b="11127"/>
          <a:stretch/>
        </p:blipFill>
        <p:spPr>
          <a:xfrm>
            <a:off x="791158" y="261258"/>
            <a:ext cx="10609684" cy="4287272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4FCE3CE-6625-48B8-01D5-8CC268C4888D}"/>
              </a:ext>
            </a:extLst>
          </p:cNvPr>
          <p:cNvSpPr txBox="1"/>
          <p:nvPr/>
        </p:nvSpPr>
        <p:spPr>
          <a:xfrm>
            <a:off x="791158" y="4685212"/>
            <a:ext cx="10609684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40000"/>
                    <a:lumOff val="6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 Awards</a:t>
            </a:r>
          </a:p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3F4F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ri | Special Achievement in GIS</a:t>
            </a:r>
          </a:p>
          <a:p>
            <a:pPr marL="227013" marR="0" lvl="0" indent="-227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3F4F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 Information Technology Director’s Association | Innovation Award </a:t>
            </a:r>
          </a:p>
        </p:txBody>
      </p:sp>
    </p:spTree>
    <p:extLst>
      <p:ext uri="{BB962C8B-B14F-4D97-AF65-F5344CB8AC3E}">
        <p14:creationId xmlns:p14="http://schemas.microsoft.com/office/powerpoint/2010/main" val="4127251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p&#10;&#10;Description automatically generated">
            <a:extLst>
              <a:ext uri="{FF2B5EF4-FFF2-40B4-BE49-F238E27FC236}">
                <a16:creationId xmlns:a16="http://schemas.microsoft.com/office/drawing/2014/main" id="{B8795096-7542-BFE2-811A-5B5599F28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74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972156C-179C-380A-E224-7C73DD8844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640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611AA17-75DC-4945-B183-A9AD15C3F4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41"/>
          <a:stretch/>
        </p:blipFill>
        <p:spPr>
          <a:xfrm>
            <a:off x="614091" y="276916"/>
            <a:ext cx="9872148" cy="5794193"/>
          </a:xfrm>
          <a:prstGeom prst="rect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8CFDB06-1BF2-D94D-8755-987BDEC76EC6}"/>
              </a:ext>
            </a:extLst>
          </p:cNvPr>
          <p:cNvSpPr/>
          <p:nvPr/>
        </p:nvSpPr>
        <p:spPr>
          <a:xfrm>
            <a:off x="6477001" y="8468"/>
            <a:ext cx="5715000" cy="925285"/>
          </a:xfrm>
          <a:prstGeom prst="rect">
            <a:avLst/>
          </a:prstGeom>
          <a:solidFill>
            <a:srgbClr val="1E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A1DD13-4D7B-480B-AF29-CE8889A8BF93}"/>
              </a:ext>
            </a:extLst>
          </p:cNvPr>
          <p:cNvSpPr txBox="1"/>
          <p:nvPr/>
        </p:nvSpPr>
        <p:spPr>
          <a:xfrm>
            <a:off x="6477000" y="206691"/>
            <a:ext cx="5714999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SCDigitalDrive.org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8ABAEEE-E95E-4987-A1AE-7D28662E94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355"/>
          <a:stretch/>
        </p:blipFill>
        <p:spPr>
          <a:xfrm>
            <a:off x="5819893" y="2860647"/>
            <a:ext cx="6027305" cy="3408686"/>
          </a:xfrm>
          <a:prstGeom prst="rect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8248436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businesscard&#10;&#10;Description automatically generated">
            <a:extLst>
              <a:ext uri="{FF2B5EF4-FFF2-40B4-BE49-F238E27FC236}">
                <a16:creationId xmlns:a16="http://schemas.microsoft.com/office/drawing/2014/main" id="{666A2487-4D97-3C66-4E3F-F2F6B959FC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736" y="43662"/>
            <a:ext cx="7087011" cy="677067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918BD93-A1C9-3D47-8C9F-D7BDC1D59145}"/>
              </a:ext>
            </a:extLst>
          </p:cNvPr>
          <p:cNvSpPr/>
          <p:nvPr/>
        </p:nvSpPr>
        <p:spPr>
          <a:xfrm>
            <a:off x="0" y="6237537"/>
            <a:ext cx="12192000" cy="620463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0832D5-3296-8C4D-9049-DD3EA3AB4C44}"/>
              </a:ext>
            </a:extLst>
          </p:cNvPr>
          <p:cNvSpPr txBox="1"/>
          <p:nvPr/>
        </p:nvSpPr>
        <p:spPr>
          <a:xfrm>
            <a:off x="7555831" y="6309011"/>
            <a:ext cx="39174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S.SC.GOV/Broadband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F18B786-9DC4-4AF5-B69B-45D805DED5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49153" y="1694609"/>
            <a:ext cx="3534" cy="576072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F08E3EE7-AACF-415B-8EBB-7B15B5D594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0242" y="1663542"/>
            <a:ext cx="3534" cy="57607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9818358-8DE6-4020-BC86-5037675D62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31332" y="1694609"/>
            <a:ext cx="3534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98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918BD93-A1C9-3D47-8C9F-D7BDC1D59145}"/>
              </a:ext>
            </a:extLst>
          </p:cNvPr>
          <p:cNvSpPr/>
          <p:nvPr/>
        </p:nvSpPr>
        <p:spPr>
          <a:xfrm>
            <a:off x="0" y="6237537"/>
            <a:ext cx="12192000" cy="620463"/>
          </a:xfrm>
          <a:prstGeom prst="rect">
            <a:avLst/>
          </a:prstGeom>
          <a:solidFill>
            <a:srgbClr val="1325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0832D5-3296-8C4D-9049-DD3EA3AB4C44}"/>
              </a:ext>
            </a:extLst>
          </p:cNvPr>
          <p:cNvSpPr txBox="1"/>
          <p:nvPr/>
        </p:nvSpPr>
        <p:spPr>
          <a:xfrm>
            <a:off x="7555831" y="6309011"/>
            <a:ext cx="39174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S.SC.GOV/Broadband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F18B786-9DC4-4AF5-B69B-45D805DED5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49153" y="1694609"/>
            <a:ext cx="3534" cy="576072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F08E3EE7-AACF-415B-8EBB-7B15B5D59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0242" y="1663542"/>
            <a:ext cx="3534" cy="57607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9818358-8DE6-4020-BC86-5037675D62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31332" y="1694609"/>
            <a:ext cx="3534" cy="57607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9EEC366-41B8-0395-C64F-22F5BFD66A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171" y="707491"/>
            <a:ext cx="11622142" cy="312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256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ap&#10;&#10;Description automatically generated">
            <a:extLst>
              <a:ext uri="{FF2B5EF4-FFF2-40B4-BE49-F238E27FC236}">
                <a16:creationId xmlns:a16="http://schemas.microsoft.com/office/drawing/2014/main" id="{068F9F15-A665-F1D9-EBF4-5C66B292D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6" cy="6858000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2B57F24-8654-D414-0486-BC48813DBD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848827"/>
              </p:ext>
            </p:extLst>
          </p:nvPr>
        </p:nvGraphicFramePr>
        <p:xfrm>
          <a:off x="8386355" y="200298"/>
          <a:ext cx="3509556" cy="1219200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169852">
                  <a:extLst>
                    <a:ext uri="{9D8B030D-6E8A-4147-A177-3AD203B41FA5}">
                      <a16:colId xmlns:a16="http://schemas.microsoft.com/office/drawing/2014/main" val="129331795"/>
                    </a:ext>
                  </a:extLst>
                </a:gridCol>
                <a:gridCol w="1169852">
                  <a:extLst>
                    <a:ext uri="{9D8B030D-6E8A-4147-A177-3AD203B41FA5}">
                      <a16:colId xmlns:a16="http://schemas.microsoft.com/office/drawing/2014/main" val="620598614"/>
                    </a:ext>
                  </a:extLst>
                </a:gridCol>
                <a:gridCol w="1169852">
                  <a:extLst>
                    <a:ext uri="{9D8B030D-6E8A-4147-A177-3AD203B41FA5}">
                      <a16:colId xmlns:a16="http://schemas.microsoft.com/office/drawing/2014/main" val="982694998"/>
                    </a:ext>
                  </a:extLst>
                </a:gridCol>
              </a:tblGrid>
              <a:tr h="267789">
                <a:tc>
                  <a:txBody>
                    <a:bodyPr/>
                    <a:lstStyle/>
                    <a:p>
                      <a:r>
                        <a:rPr lang="en-US" sz="1400" dirty="0"/>
                        <a:t>Eligi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Un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4117210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r>
                        <a:rPr lang="en-US" sz="1400" b="1" dirty="0"/>
                        <a:t>Residen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49,9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64,6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3594887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r>
                        <a:rPr lang="en-US" sz="1400" b="1" dirty="0"/>
                        <a:t>Bus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10,329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10,646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208076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60,315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75,27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89808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90482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8E35B4C-9430-C79C-FF60-980CC9F409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337" y="3758"/>
            <a:ext cx="8870194" cy="6854242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2B57F24-8654-D414-0486-BC48813DBD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058480"/>
              </p:ext>
            </p:extLst>
          </p:nvPr>
        </p:nvGraphicFramePr>
        <p:xfrm>
          <a:off x="8604069" y="78378"/>
          <a:ext cx="3509556" cy="1219200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1169852">
                  <a:extLst>
                    <a:ext uri="{9D8B030D-6E8A-4147-A177-3AD203B41FA5}">
                      <a16:colId xmlns:a16="http://schemas.microsoft.com/office/drawing/2014/main" val="129331795"/>
                    </a:ext>
                  </a:extLst>
                </a:gridCol>
                <a:gridCol w="1169852">
                  <a:extLst>
                    <a:ext uri="{9D8B030D-6E8A-4147-A177-3AD203B41FA5}">
                      <a16:colId xmlns:a16="http://schemas.microsoft.com/office/drawing/2014/main" val="620598614"/>
                    </a:ext>
                  </a:extLst>
                </a:gridCol>
                <a:gridCol w="1169852">
                  <a:extLst>
                    <a:ext uri="{9D8B030D-6E8A-4147-A177-3AD203B41FA5}">
                      <a16:colId xmlns:a16="http://schemas.microsoft.com/office/drawing/2014/main" val="982694998"/>
                    </a:ext>
                  </a:extLst>
                </a:gridCol>
              </a:tblGrid>
              <a:tr h="267789">
                <a:tc>
                  <a:txBody>
                    <a:bodyPr/>
                    <a:lstStyle/>
                    <a:p>
                      <a:r>
                        <a:rPr lang="en-US" sz="1400" dirty="0"/>
                        <a:t>Rem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Un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4117210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r>
                        <a:rPr lang="en-US" sz="1400" b="1" dirty="0"/>
                        <a:t>Residen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1,6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2,0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3594887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r>
                        <a:rPr lang="en-US" sz="1400" b="1" dirty="0"/>
                        <a:t>Busi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290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292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208076"/>
                  </a:ext>
                </a:extLst>
              </a:tr>
              <a:tr h="267789"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1,941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/>
                        <a:t>2,339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89808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0135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I9ggDQEGpmm0_YZPq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NI9ggDQEGpmm0_YZPq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RT.VMTRUaMBHcP6nlG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_KEEJ9QxOUQ10ZnGUr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SCEM Presentation 10-7-21" id="{A05BA71A-6E24-7E4F-BD81-05DDBA01B61F}" vid="{0ADF17A5-06BB-7E45-A1E7-A451D5DD5B1E}"/>
    </a:ext>
  </a:extLst>
</a:theme>
</file>

<file path=ppt/theme/theme4.xml><?xml version="1.0" encoding="utf-8"?>
<a:theme xmlns:a="http://schemas.openxmlformats.org/drawingml/2006/main" name="EY_Regular_Presentation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IBM 2020 Master template (black background)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12771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IBM Plex Sans" charset="0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Naked-template" id="{38482274-8AD0-3B48-BC15-CBEB83BC3AA0}" vid="{045B8C44-5484-6A43-913D-21B9458BF858}"/>
    </a:ext>
  </a:extLst>
</a:theme>
</file>

<file path=ppt/theme/theme6.xml><?xml version="1.0" encoding="utf-8"?>
<a:theme xmlns:a="http://schemas.openxmlformats.org/drawingml/2006/main" name="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7</TotalTime>
  <Words>722</Words>
  <Application>Microsoft Office PowerPoint</Application>
  <PresentationFormat>Widescreen</PresentationFormat>
  <Paragraphs>137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Arial</vt:lpstr>
      <vt:lpstr>Calibri</vt:lpstr>
      <vt:lpstr>Calibri Light</vt:lpstr>
      <vt:lpstr>EYInterstate</vt:lpstr>
      <vt:lpstr>EYInterstate Light</vt:lpstr>
      <vt:lpstr>Gotham Light</vt:lpstr>
      <vt:lpstr>IBM Plex Sans</vt:lpstr>
      <vt:lpstr>Wingdings</vt:lpstr>
      <vt:lpstr>Office Theme</vt:lpstr>
      <vt:lpstr>1_Custom Design</vt:lpstr>
      <vt:lpstr>3_Office Theme</vt:lpstr>
      <vt:lpstr>EY_Regular_Presentation</vt:lpstr>
      <vt:lpstr>IBM 2020 Master template (black background)</vt:lpstr>
      <vt:lpstr>6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bout BEA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m Stritzinger</dc:creator>
  <cp:lastModifiedBy>Stritzinger, Jr, James</cp:lastModifiedBy>
  <cp:revision>129</cp:revision>
  <dcterms:created xsi:type="dcterms:W3CDTF">2021-05-05T00:01:41Z</dcterms:created>
  <dcterms:modified xsi:type="dcterms:W3CDTF">2024-02-26T20:45:30Z</dcterms:modified>
</cp:coreProperties>
</file>